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1234" r:id="rId3"/>
    <p:sldId id="1235" r:id="rId4"/>
    <p:sldId id="1236" r:id="rId5"/>
    <p:sldId id="1237" r:id="rId6"/>
    <p:sldId id="1239" r:id="rId7"/>
    <p:sldId id="1240" r:id="rId8"/>
    <p:sldId id="1241" r:id="rId9"/>
    <p:sldId id="1242" r:id="rId10"/>
    <p:sldId id="1243" r:id="rId11"/>
    <p:sldId id="1244" r:id="rId12"/>
    <p:sldId id="1245" r:id="rId13"/>
    <p:sldId id="1246" r:id="rId14"/>
    <p:sldId id="124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>
      <p:cViewPr varScale="1">
        <p:scale>
          <a:sx n="130" d="100"/>
          <a:sy n="130" d="100"/>
        </p:scale>
        <p:origin x="168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532107D-5130-851B-678D-5E144BC68B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B848DAF-4253-DA6F-D4B2-542BD94FD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AFCA1E-16D3-F004-1829-1779AA329D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77007B8-88C2-8F32-2B39-517DB3392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CD094A9-597C-8D7D-1652-C0299D8B9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297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81D320-DDB8-C239-8D4E-A14DB3818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3D372F1-70D8-FC9B-458C-B20FAF346E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FD88D24-5317-F743-7E8D-CDB796B0F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872CC70-5B1D-DF04-B9D3-1BF72096C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52B389-B076-74D8-EF9C-25DDB0EDF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39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AF183C7-8DF0-C6A8-D18B-332C7C7EF1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3B02868-5ECA-0234-0EF9-A2F0D19060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61675A3-AA7B-744E-5764-CA3E3304A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0BB9066-C30E-3875-25B8-A6FE42431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DD9E133-3FA8-ECD3-0B8C-DA1FA61A7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89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C0F4D38-855B-1D4A-B111-5531291A7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12795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7772400" imgH="10058400" progId="TCLayout.ActiveDocument.1">
                  <p:embed/>
                </p:oleObj>
              </mc:Choice>
              <mc:Fallback>
                <p:oleObj name="Diapositiva think-cell" r:id="rId3" imgW="7772400" imgH="10058400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C0F4D38-855B-1D4A-B111-5531291A7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06784294-7BB9-9848-8DC0-5B5A4882F4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350" y="452969"/>
            <a:ext cx="7879951" cy="2391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2133" b="1" i="0" cap="all" baseline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it-IT" dirty="0"/>
              <a:t>slide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68FD5E2-33AC-8847-91BB-E3A137D08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4418" y="6405034"/>
            <a:ext cx="2551173" cy="1871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fld id="{ABA2C2F3-668E-8445-AF97-0721AE8CBE45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CC9F86D3-1686-3646-A552-008114A04729}"/>
              </a:ext>
            </a:extLst>
          </p:cNvPr>
          <p:cNvSpPr/>
          <p:nvPr userDrawn="1"/>
        </p:nvSpPr>
        <p:spPr>
          <a:xfrm>
            <a:off x="8879418" y="-15680"/>
            <a:ext cx="3361265" cy="691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11" name="Segnaposto testo 6">
            <a:extLst>
              <a:ext uri="{FF2B5EF4-FFF2-40B4-BE49-F238E27FC236}">
                <a16:creationId xmlns:a16="http://schemas.microsoft.com/office/drawing/2014/main" id="{333BF6E0-891A-CD42-8242-A1B1C34D06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4651" y="4232937"/>
            <a:ext cx="2302933" cy="1804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</a:t>
            </a:r>
            <a:r>
              <a:rPr lang="it-IT" dirty="0" err="1"/>
              <a:t>laboris</a:t>
            </a:r>
            <a:r>
              <a:rPr lang="it-IT" dirty="0"/>
              <a:t>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 </a:t>
            </a:r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</a:t>
            </a:r>
            <a:r>
              <a:rPr lang="it-IT" dirty="0"/>
              <a:t> </a:t>
            </a:r>
            <a:r>
              <a:rPr lang="it-IT" dirty="0" err="1"/>
              <a:t>ir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reprehenderit</a:t>
            </a:r>
            <a:r>
              <a:rPr lang="it-IT" dirty="0"/>
              <a:t> in </a:t>
            </a:r>
            <a:r>
              <a:rPr lang="it-IT" dirty="0" err="1"/>
              <a:t>volup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</a:t>
            </a:r>
            <a:r>
              <a:rPr lang="it-IT" dirty="0" err="1"/>
              <a:t>cillum</a:t>
            </a:r>
            <a:r>
              <a:rPr lang="it-IT" dirty="0"/>
              <a:t> dolore </a:t>
            </a:r>
            <a:r>
              <a:rPr lang="it-IT" dirty="0" err="1"/>
              <a:t>eu</a:t>
            </a:r>
            <a:r>
              <a:rPr lang="it-IT" dirty="0"/>
              <a:t> </a:t>
            </a:r>
            <a:r>
              <a:rPr lang="it-IT" dirty="0" err="1"/>
              <a:t>fugiat</a:t>
            </a:r>
            <a:r>
              <a:rPr lang="it-IT" dirty="0"/>
              <a:t> nulla </a:t>
            </a:r>
            <a:r>
              <a:rPr lang="it-IT" dirty="0" err="1"/>
              <a:t>pariatur</a:t>
            </a:r>
            <a:r>
              <a:rPr lang="it-IT" dirty="0"/>
              <a:t>. </a:t>
            </a:r>
            <a:r>
              <a:rPr lang="it-IT" dirty="0" err="1"/>
              <a:t>Excepteur</a:t>
            </a:r>
            <a:r>
              <a:rPr lang="it-IT" dirty="0"/>
              <a:t> </a:t>
            </a:r>
            <a:r>
              <a:rPr lang="it-IT" dirty="0" err="1"/>
              <a:t>sint</a:t>
            </a:r>
            <a:r>
              <a:rPr lang="it-IT" dirty="0"/>
              <a:t> </a:t>
            </a:r>
            <a:r>
              <a:rPr lang="it-IT" dirty="0" err="1"/>
              <a:t>occaecat</a:t>
            </a:r>
            <a:r>
              <a:rPr lang="it-IT" dirty="0"/>
              <a:t> </a:t>
            </a:r>
            <a:r>
              <a:rPr lang="it-IT" dirty="0" err="1"/>
              <a:t>cupidatat</a:t>
            </a:r>
            <a:r>
              <a:rPr lang="it-IT" dirty="0"/>
              <a:t> non </a:t>
            </a:r>
            <a:r>
              <a:rPr lang="it-IT" dirty="0" err="1"/>
              <a:t>proident</a:t>
            </a:r>
            <a:r>
              <a:rPr lang="it-IT" dirty="0"/>
              <a:t>, </a:t>
            </a:r>
            <a:r>
              <a:rPr lang="it-IT" dirty="0" err="1"/>
              <a:t>sunt</a:t>
            </a:r>
            <a:r>
              <a:rPr lang="it-IT" dirty="0"/>
              <a:t> in culpa qui officia </a:t>
            </a:r>
            <a:r>
              <a:rPr lang="it-IT" dirty="0" err="1"/>
              <a:t>deserunt</a:t>
            </a:r>
            <a:r>
              <a:rPr lang="it-IT" dirty="0"/>
              <a:t> </a:t>
            </a:r>
            <a:r>
              <a:rPr lang="it-IT" dirty="0" err="1"/>
              <a:t>mollit</a:t>
            </a:r>
            <a:r>
              <a:rPr lang="it-IT" dirty="0"/>
              <a:t> </a:t>
            </a:r>
            <a:r>
              <a:rPr lang="it-IT" dirty="0" err="1"/>
              <a:t>anim</a:t>
            </a:r>
            <a:r>
              <a:rPr lang="it-IT" dirty="0"/>
              <a:t> id est </a:t>
            </a:r>
            <a:r>
              <a:rPr lang="it-IT" dirty="0" err="1"/>
              <a:t>laborum</a:t>
            </a:r>
            <a:endParaRPr lang="it-IT" dirty="0"/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EB77F90F-C9F3-724A-8893-300BC069D3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64651" y="3888529"/>
            <a:ext cx="2302933" cy="1677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NOTE</a:t>
            </a:r>
          </a:p>
        </p:txBody>
      </p:sp>
      <p:pic>
        <p:nvPicPr>
          <p:cNvPr id="9" name="Spark Reply - RUNNING MAN_Black RGB copy.png" descr="Spark Reply - RUNNING MAN_Black RGB copy.png">
            <a:extLst>
              <a:ext uri="{FF2B5EF4-FFF2-40B4-BE49-F238E27FC236}">
                <a16:creationId xmlns:a16="http://schemas.microsoft.com/office/drawing/2014/main" id="{B68A7A11-41D0-D441-A7F5-DC0D27C303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164" y="6359184"/>
            <a:ext cx="317501" cy="31750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egnaposto testo 6">
            <a:extLst>
              <a:ext uri="{FF2B5EF4-FFF2-40B4-BE49-F238E27FC236}">
                <a16:creationId xmlns:a16="http://schemas.microsoft.com/office/drawing/2014/main" id="{B344E06A-07E1-A842-9763-1FAE92D4661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7852" y="6435729"/>
            <a:ext cx="4725305" cy="88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667"/>
            </a:lvl1pPr>
          </a:lstStyle>
          <a:p>
            <a:r>
              <a:rPr lang="it-IT" dirty="0" err="1"/>
              <a:t>Proprietary</a:t>
            </a:r>
            <a:r>
              <a:rPr lang="it-IT" dirty="0"/>
              <a:t> &amp; </a:t>
            </a:r>
            <a:r>
              <a:rPr lang="it-IT" dirty="0" err="1"/>
              <a:t>Confidential</a:t>
            </a:r>
            <a:endParaRPr lang="it-IT" dirty="0"/>
          </a:p>
        </p:txBody>
      </p:sp>
      <p:sp>
        <p:nvSpPr>
          <p:cNvPr id="13" name="Segnaposto testo 6">
            <a:extLst>
              <a:ext uri="{FF2B5EF4-FFF2-40B4-BE49-F238E27FC236}">
                <a16:creationId xmlns:a16="http://schemas.microsoft.com/office/drawing/2014/main" id="{932AF83B-3567-8E4B-9CE5-F476A08D2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417" y="820565"/>
            <a:ext cx="7871883" cy="1723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67">
                <a:solidFill>
                  <a:schemeClr val="bg2"/>
                </a:solidFill>
              </a:defRPr>
            </a:lvl1pPr>
          </a:lstStyle>
          <a:p>
            <a:r>
              <a:rPr lang="it-IT" dirty="0" err="1"/>
              <a:t>Sub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9507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7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618950-E2E1-2997-F087-4C1D7940D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E3E948D-DE52-544A-D52C-B08A35E3C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4B03F1F-91F9-A2AE-6C42-B31B87B82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B62FB37-9DEA-EEF4-2F74-6E1CA511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53285D7-847F-1AB0-03FC-AF6D4C20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244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A513E58-259F-07E7-2439-70E3ABC1D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A2C47DD-64BE-7E5A-B767-B9EB662F71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F7B4C1-441A-EC22-68F3-1C1429993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902DAAB-E1C4-1BF2-98EC-8CE895C7D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BEF8A9-2BBA-966E-27C9-962791829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279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6F1736-AAAF-2DD6-CF7F-9EBE6D54D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9F06D23-184C-2F64-97A1-272EC5A2B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D31DAE1-B90D-23EE-B51A-F7BA96A1F0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7399866-4689-D881-E6FD-849BBC06A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2253CE7-A8A0-4368-2E5C-18AFEF2C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2E3EED9-3191-46FF-24A2-EA37F6342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442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2A3E1F-D87E-1752-ACE4-E1E9F2164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BBEAE4E-A92E-39DC-1A4C-EBCAFF13BC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3972479-F6A9-C450-D4FB-2B64C506E4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E83804B-B7CD-35D6-AEBF-02D71E39B5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4ECCC231-1478-C83D-0517-4F498FF0E6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7B17D536-5FB0-720B-4A49-7CC777F72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E607F37-C589-2DE3-C681-17B3AEC49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F659134-DE0F-E58F-50B0-C23517637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951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CCEAAC-9650-CAC6-089C-33F09AF42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6FED0083-49A1-F20A-43FF-71EA47093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BC2AD5F8-BD68-F075-35C7-7CB2C2D97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CCF43A3-B30A-70B8-F666-E18D6416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558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F05A5E6-0565-BAB3-3A56-7440AAF3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FFAE268C-8BCC-147C-9088-6FB477D05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1E147F9-771D-D923-D315-84E12CEBE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127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E75D19-661A-D5D0-9043-1C967F159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EA8B1F7-0C1B-4A3D-3DBE-C4F0FE578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6989020-BF2A-EC4B-8F0E-67B9BC5A35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896BD1A-1549-BF7B-467E-AEA717036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F37204E-FD89-5E5B-B6DC-A3DAA3F2A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0A188CF-BD4B-8C51-4F9B-670739CA6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546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166DCD-36EB-3D68-2BA8-F5ACA5CE7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8FB52ADA-BC51-BDC6-C53D-EE0A95D966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9B9FEDD-2E0C-99CA-6E2E-B2728F8769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59EDB19-5DF9-4FED-C641-D054C4F80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2E9D7D3-6F0A-ED42-78AB-E00DC879B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6BE5AD5-5918-C754-858E-EEB812C47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7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83917F79-8B58-8FE9-2B0C-6D815ADF4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83F4F26-60AE-FFE6-F212-F5E6CEDF37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0515E8-4F75-F74A-9301-001860A651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F530D-5A9A-4257-A34D-8935CD8FCE2A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F2019F4-9278-AEB0-F1BF-71AF411AE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235042D-8B3B-2133-19B2-C0C0F9F18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9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2817A2-649F-A312-5E7A-A84BB7E04BF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esentazione</a:t>
            </a:r>
            <a:br>
              <a:rPr lang="it-IT" dirty="0"/>
            </a:br>
            <a:r>
              <a:rPr lang="it-IT" dirty="0"/>
              <a:t> </a:t>
            </a:r>
            <a:r>
              <a:rPr lang="it-IT" dirty="0" err="1"/>
              <a:t>VotoFacile</a:t>
            </a:r>
            <a:endParaRPr lang="en-US" dirty="0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AA0F6C-6C81-5C20-E1E6-033E4BDD96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13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DA532B3-6F42-3E5C-C592-A3A5CD91A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22" y="770709"/>
            <a:ext cx="8643307" cy="544722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e si sceglie «Referendum» come tipologia di votazione, tab candidati non sarà disponibile</a:t>
            </a:r>
          </a:p>
          <a:p>
            <a:r>
              <a:rPr lang="it-IT" dirty="0"/>
              <a:t>Ci sarà invece tab «Domanda» dove sarà possibile inserire la domanda per il referend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175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Dentro la schermata «Domanda» sarà possibile inserire e salvare la domanda per il referendum.</a:t>
            </a:r>
            <a:endParaRPr lang="en-US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BFEAC38-087C-4FE6-2C3A-EBAC991B6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04" y="818081"/>
            <a:ext cx="8717465" cy="550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003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70050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inserita una domanda(in caso di referendum) oppure una volta aggiunti almeno 2 candidati( in caso di votazione ordinale o categorica) sarà possibile cliccare su «Conferma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1) Una volta fatto click su «Conferma» la votazione passerà dallo status «Draft» allo status «Approvat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1814948" y="492733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412115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A7D2D84-DD79-6C5F-C1E9-A8CBF4020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231" y="903269"/>
            <a:ext cx="8493369" cy="5297234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Se lo status della votazione è «Approvata» oppure «Terminata» il tasto «Conferma» non sarà visualizzato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Sarà invece visibile il tasto «Termina Subito la votazione», premendo questo tasto la votazione passerà subito nello status «Terminata»</a:t>
            </a:r>
          </a:p>
          <a:p>
            <a:r>
              <a:rPr lang="it-IT" sz="1333" dirty="0">
                <a:solidFill>
                  <a:schemeClr val="tx1"/>
                </a:solidFill>
              </a:rPr>
              <a:t>Lo stesso risultato lo si può ottenere modificando la «data di fine» e cliccando su «Salv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5947333" y="5954731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96622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E510C15-494B-3D5C-5A51-695136B92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84" y="720433"/>
            <a:ext cx="8468847" cy="5312713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VOTAZIONE 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Questa è la schermata in cui si potrà votare per un referendum.</a:t>
            </a:r>
          </a:p>
          <a:p>
            <a:r>
              <a:rPr lang="it-IT" sz="1333" dirty="0">
                <a:solidFill>
                  <a:schemeClr val="tx1"/>
                </a:solidFill>
              </a:rPr>
              <a:t>Viene mostrato il nome del referendum e la domanda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Sarà possibile selezionare «Si» o «No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conferma» la preferenza di voto sarà registrata</a:t>
            </a:r>
          </a:p>
          <a:p>
            <a:pPr marL="342900" indent="-342900">
              <a:buAutoNum type="arabicParenBoth"/>
            </a:pPr>
            <a:endParaRPr lang="it-IT" sz="1333" dirty="0">
              <a:solidFill>
                <a:schemeClr val="tx1"/>
              </a:solidFill>
            </a:endParaRP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2898535" y="516342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34692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01C7B84-7725-E215-EF42-A97290D14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79" y="1001767"/>
            <a:ext cx="8486346" cy="530481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og-in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Home page –Menù di log-in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L’home page (HP) viene strutturata con una interfaccia composta da due sezioni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sinistra si può fare il log-in e si può procedere alla votazione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destra si può votare per votazioni già create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ompilando i campi «Indirizzo email» e «password» e successivamente cliccando su «LOGIN» l’utente verrà portato nella schermata di creazione delle votazioni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</a:t>
            </a:r>
            <a:r>
              <a:rPr lang="it-IT" sz="1333" dirty="0" err="1">
                <a:solidFill>
                  <a:schemeClr val="tx1"/>
                </a:solidFill>
              </a:rPr>
              <a:t>Register</a:t>
            </a:r>
            <a:r>
              <a:rPr lang="it-IT" sz="1333" dirty="0">
                <a:solidFill>
                  <a:schemeClr val="tx1"/>
                </a:solidFill>
              </a:rPr>
              <a:t>» l’utente atterrerà su una nuova schermata dove potrà completare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Una volta inseriti i propri dati e l’id della votazione per la quale si desidera votare cliccando su «Vota» si verrà portati in una pagina dedicata al voto  </a:t>
            </a:r>
            <a:br>
              <a:rPr lang="it-IT" sz="1333" dirty="0">
                <a:solidFill>
                  <a:schemeClr val="tx1"/>
                </a:solidFill>
              </a:rPr>
            </a:br>
            <a:r>
              <a:rPr lang="it-IT" sz="1000" b="1" dirty="0">
                <a:solidFill>
                  <a:schemeClr val="tx1"/>
                </a:solidFill>
              </a:rPr>
              <a:t>SI POTRA’ VOTARE SOLO SE SI E’ Già REGISTRATI</a:t>
            </a: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1087414" y="5054022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1183414" y="548298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3AABF333-DE29-3D66-3BE7-66041E7789BC}"/>
              </a:ext>
            </a:extLst>
          </p:cNvPr>
          <p:cNvSpPr/>
          <p:nvPr/>
        </p:nvSpPr>
        <p:spPr>
          <a:xfrm>
            <a:off x="4479452" y="505060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218884" y="6314873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892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2B417D4C-2963-1F2B-5E3F-BCECDACC8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1" y="820953"/>
            <a:ext cx="7973471" cy="4997818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 err="1"/>
              <a:t>rEGISTR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Schermata di registr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Una volta fatto click su «Log-in» nella slide precedente, si arriva sulla schermata di registrazione.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r>
              <a:rPr lang="it-IT" sz="1333" dirty="0">
                <a:solidFill>
                  <a:srgbClr val="000000"/>
                </a:solidFill>
              </a:rPr>
              <a:t>In questa schermata si potrà procedere con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Una volta compilati tutti i campi, cliccando su «REGISTRATI» l’utente verrà portato sulla schermata di «creazione votazione»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in si verrà portati sulla schermata di Log-in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898535" y="497419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2391290" y="531189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404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ompletato il log-in o completata la registrazione si arriva su questa schermat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visualizzare tutte le votazioni create con questo account, sarà inoltre possibile creare una nuova votazione oppure eliminare una votaz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Nella tabella vengono visualizz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Id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Tipologia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inizio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fine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Status attuale dell’elezione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40272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Viene visualizzato il nome dell’account loggato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out si verrà riportati sulla pagina di log-in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Facendo click su «Nuova elezione» si verrà portati su una nuova schermata dove sarà possibile creare una nuova ele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4) cliccando su «Scegli elezione» si verrà portati sulla schermata di gestione della votazione selezionata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5) cliccando su «cancella elezione» sarà possibile eliminare la votazione selezionata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37677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1668E477-A140-1E6C-225F-62FFBE28F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400" y="1001767"/>
            <a:ext cx="7778870" cy="492850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fatto click su «Nuova Elezione» nella schermata precedente, si atterrerà su questa interfacci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creare una nuova elezione dandogli un nome, una data di inizio, una data di fine e selezionando la tipologia della votazione.</a:t>
            </a:r>
          </a:p>
          <a:p>
            <a:r>
              <a:rPr lang="it-IT" sz="1333" dirty="0">
                <a:solidFill>
                  <a:schemeClr val="tx1"/>
                </a:solidFill>
              </a:rPr>
              <a:t>Attualmente esistono 3 tipi di votazione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Ordinal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Categorica</a:t>
            </a:r>
          </a:p>
          <a:p>
            <a:r>
              <a:rPr lang="it-IT" sz="1333" dirty="0">
                <a:solidFill>
                  <a:schemeClr val="tx1"/>
                </a:solidFill>
              </a:rPr>
              <a:t>-Referendum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liccando su «Indietro» si viene portati nella schermata precedent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Logout» si viene portati nella schermata di «Login»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cliccando su «Crea» si viene portati nella schermata di gestio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80400" y="148600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517030" y="1529249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218884" y="6314873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3467303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75802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85002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reata la votazione si arriverà su questa schermata di gest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Verranno visualizzati i seguenti camp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inizio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fi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Salva» si potranno modificare i parametri dell’ele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Logout» si potrà tornare nella schermata di log-in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Indietro» si potrà tornare nella schermata di selezione della vota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In questa posizione vengono mostrate alcune informazioni fondamental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id della votazione che serve per poter votar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a tipologia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attuale status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Se la votazione prevede l’esistenza di Candidati, verrà visualizzato anche il campo «Candidati iscritti»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773699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866507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2788035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DC439CA0-27C2-DAD8-7A6D-03FD49E56CB1}"/>
              </a:ext>
            </a:extLst>
          </p:cNvPr>
          <p:cNvSpPr/>
          <p:nvPr/>
        </p:nvSpPr>
        <p:spPr>
          <a:xfrm>
            <a:off x="3496351" y="550641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1651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298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285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0</TotalTime>
  <Words>1061</Words>
  <Application>Microsoft Office PowerPoint</Application>
  <PresentationFormat>Widescreen</PresentationFormat>
  <Paragraphs>165</Paragraphs>
  <Slides>14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Tema di Office</vt:lpstr>
      <vt:lpstr>Diapositiva think-cell</vt:lpstr>
      <vt:lpstr>Presentazione  VotoFacile</vt:lpstr>
      <vt:lpstr>Log-in </vt:lpstr>
      <vt:lpstr>rEGISTRAZIONE </vt:lpstr>
      <vt:lpstr>Lista delle votazioni  </vt:lpstr>
      <vt:lpstr>LISTA DELLE VOTAZIONI </vt:lpstr>
      <vt:lpstr>CREAZIONE VOTAZIONE </vt:lpstr>
      <vt:lpstr>REFERENDUM </vt:lpstr>
      <vt:lpstr>CREAZIONE VOTAZIONE </vt:lpstr>
      <vt:lpstr>CREAZIONE VOTAZIONE </vt:lpstr>
      <vt:lpstr>CREAZIONE VOTAZIONE </vt:lpstr>
      <vt:lpstr>CREAZIONE VOTAZIONE </vt:lpstr>
      <vt:lpstr>REFERENDUM </vt:lpstr>
      <vt:lpstr>REFERENDUM </vt:lpstr>
      <vt:lpstr>VOTAZIONE REFERENDU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VotoElettronico.it</dc:title>
  <dc:creator>Luca Stoian</dc:creator>
  <cp:lastModifiedBy>Luca Stoian</cp:lastModifiedBy>
  <cp:revision>17</cp:revision>
  <dcterms:created xsi:type="dcterms:W3CDTF">2022-06-17T09:16:53Z</dcterms:created>
  <dcterms:modified xsi:type="dcterms:W3CDTF">2022-06-27T10:48:49Z</dcterms:modified>
</cp:coreProperties>
</file>